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7"/>
  </p:notesMasterIdLst>
  <p:sldIdLst>
    <p:sldId id="261" r:id="rId2"/>
    <p:sldId id="262" r:id="rId3"/>
    <p:sldId id="530" r:id="rId4"/>
    <p:sldId id="529" r:id="rId5"/>
    <p:sldId id="532" r:id="rId6"/>
    <p:sldId id="533" r:id="rId7"/>
    <p:sldId id="557" r:id="rId8"/>
    <p:sldId id="560" r:id="rId9"/>
    <p:sldId id="561" r:id="rId10"/>
    <p:sldId id="562" r:id="rId11"/>
    <p:sldId id="563" r:id="rId12"/>
    <p:sldId id="564" r:id="rId13"/>
    <p:sldId id="565" r:id="rId14"/>
    <p:sldId id="566" r:id="rId15"/>
    <p:sldId id="285" r:id="rId16"/>
  </p:sldIdLst>
  <p:sldSz cx="9144000" cy="6858000" type="screen4x3"/>
  <p:notesSz cx="6805613" cy="9939338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2CB4"/>
    <a:srgbClr val="3366FF"/>
    <a:srgbClr val="8484DC"/>
    <a:srgbClr val="806DF3"/>
    <a:srgbClr val="EFEFF0"/>
    <a:srgbClr val="F08300"/>
    <a:srgbClr val="002F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88" autoAdjust="0"/>
    <p:restoredTop sz="93370" autoAdjust="0"/>
  </p:normalViewPr>
  <p:slideViewPr>
    <p:cSldViewPr>
      <p:cViewPr>
        <p:scale>
          <a:sx n="100" d="100"/>
          <a:sy n="100" d="100"/>
        </p:scale>
        <p:origin x="-1860" y="-324"/>
      </p:cViewPr>
      <p:guideLst>
        <p:guide orient="horz" pos="2114"/>
        <p:guide pos="291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B57F64-620D-440C-A3CD-3D2923639FCE}" type="datetimeFigureOut">
              <a:rPr lang="zh-CN" altLang="en-US" smtClean="0"/>
              <a:t>2020/12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CF8A65-AB5B-4EAF-A5FC-94B310A5021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4921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CF8A65-AB5B-4EAF-A5FC-94B310A50213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197E-6409-45BD-888B-C21AA86847A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179512" y="6492875"/>
            <a:ext cx="2895600" cy="365125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197E-6409-45BD-888B-C21AA86847A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FB1DE-8684-47EA-A9C0-51227A67486C}" type="datetimeFigureOut">
              <a:rPr lang="zh-CN" altLang="en-US" smtClean="0"/>
              <a:t>2020/12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8197E-6409-45BD-888B-C21AA86847A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0" y="1939479"/>
            <a:ext cx="9144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盘点培训手册</a:t>
            </a:r>
            <a:endParaRPr lang="zh-CN" altLang="en-US" sz="4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78545" y="2971691"/>
            <a:ext cx="18614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编制时间：</a:t>
            </a:r>
            <a:r>
              <a:rPr lang="en-US" altLang="zh-CN" sz="16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9.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10392" y="104810"/>
            <a:ext cx="50000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操作 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</a:t>
            </a:r>
            <a:r>
              <a:rPr lang="zh-CN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初盘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划</a:t>
            </a:r>
            <a:endParaRPr lang="zh-CN" altLang="en-US" sz="28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3"/>
          <p:cNvSpPr txBox="1"/>
          <p:nvPr/>
        </p:nvSpPr>
        <p:spPr>
          <a:xfrm>
            <a:off x="362865" y="620688"/>
            <a:ext cx="81676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在初盘计划列表中查询出对应的盘点计划，然后点击“发布”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用户即在钉钉查看到盘点计划；点击“汇总”则显示需盘点的资产明细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</a:p>
        </p:txBody>
      </p:sp>
      <p:sp>
        <p:nvSpPr>
          <p:cNvPr id="12" name="文本框 19"/>
          <p:cNvSpPr txBox="1"/>
          <p:nvPr/>
        </p:nvSpPr>
        <p:spPr>
          <a:xfrm>
            <a:off x="3355474" y="3132708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 smtClean="0"/>
              <a:t>4</a:t>
            </a:r>
            <a:endParaRPr lang="en-US" altLang="zh-CN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67019"/>
            <a:ext cx="2808312" cy="2139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467" y="3573016"/>
            <a:ext cx="8214989" cy="270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文本框 19"/>
          <p:cNvSpPr txBox="1"/>
          <p:nvPr/>
        </p:nvSpPr>
        <p:spPr>
          <a:xfrm>
            <a:off x="8468042" y="6093296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624809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743" y="4333852"/>
            <a:ext cx="8533384" cy="1903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10392" y="104810"/>
            <a:ext cx="73084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、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操作 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抽盘计划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初盘结束后可创建）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圆角矩形标注 17"/>
          <p:cNvSpPr/>
          <p:nvPr/>
        </p:nvSpPr>
        <p:spPr bwMode="auto">
          <a:xfrm>
            <a:off x="7308304" y="4460602"/>
            <a:ext cx="1164590" cy="336550"/>
          </a:xfrm>
          <a:prstGeom prst="wedgeRoundRectCallout">
            <a:avLst>
              <a:gd name="adj1" fmla="val 4525"/>
              <a:gd name="adj2" fmla="val 116415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1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点击新增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4139952" y="3933056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 smtClean="0"/>
              <a:t>1</a:t>
            </a:r>
            <a:endParaRPr lang="en-US" altLang="zh-CN" dirty="0"/>
          </a:p>
        </p:txBody>
      </p:sp>
      <p:sp>
        <p:nvSpPr>
          <p:cNvPr id="10" name="TextBox 3"/>
          <p:cNvSpPr txBox="1"/>
          <p:nvPr/>
        </p:nvSpPr>
        <p:spPr>
          <a:xfrm>
            <a:off x="362865" y="620688"/>
            <a:ext cx="70519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登录后，点击菜单“抽盘管理”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“新增”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sp>
        <p:nvSpPr>
          <p:cNvPr id="12" name="文本框 19"/>
          <p:cNvSpPr txBox="1"/>
          <p:nvPr/>
        </p:nvSpPr>
        <p:spPr>
          <a:xfrm>
            <a:off x="4139952" y="6165304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 smtClean="0"/>
              <a:t>2</a:t>
            </a:r>
            <a:endParaRPr lang="en-US" altLang="zh-CN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743" y="1052735"/>
            <a:ext cx="8470721" cy="2952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3647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10392" y="104810"/>
            <a:ext cx="50000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、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操作 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</a:t>
            </a:r>
            <a:r>
              <a:rPr lang="zh-CN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抽盘计划</a:t>
            </a:r>
          </a:p>
        </p:txBody>
      </p:sp>
      <p:sp>
        <p:nvSpPr>
          <p:cNvPr id="10" name="TextBox 3"/>
          <p:cNvSpPr txBox="1"/>
          <p:nvPr/>
        </p:nvSpPr>
        <p:spPr>
          <a:xfrm>
            <a:off x="362865" y="620688"/>
            <a:ext cx="5070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填写计划事项后，点击“确定”按钮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</p:txBody>
      </p:sp>
      <p:sp>
        <p:nvSpPr>
          <p:cNvPr id="12" name="文本框 19"/>
          <p:cNvSpPr txBox="1"/>
          <p:nvPr/>
        </p:nvSpPr>
        <p:spPr>
          <a:xfrm>
            <a:off x="4139952" y="5733256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/>
              <a:t>3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1123156"/>
            <a:ext cx="5562600" cy="461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6702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10392" y="104810"/>
            <a:ext cx="50000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、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操作 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</a:t>
            </a:r>
            <a:r>
              <a:rPr lang="zh-CN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抽盘计划</a:t>
            </a:r>
          </a:p>
        </p:txBody>
      </p:sp>
      <p:sp>
        <p:nvSpPr>
          <p:cNvPr id="10" name="TextBox 3"/>
          <p:cNvSpPr txBox="1"/>
          <p:nvPr/>
        </p:nvSpPr>
        <p:spPr>
          <a:xfrm>
            <a:off x="362865" y="620688"/>
            <a:ext cx="81676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在抽盘计划列表中查询出对应的盘点计划，然后点击“发布”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用户即在钉钉查看到盘点计划；点击“汇总”则显示需盘点的资产明细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</a:p>
        </p:txBody>
      </p:sp>
      <p:sp>
        <p:nvSpPr>
          <p:cNvPr id="12" name="文本框 19"/>
          <p:cNvSpPr txBox="1"/>
          <p:nvPr/>
        </p:nvSpPr>
        <p:spPr>
          <a:xfrm>
            <a:off x="3355474" y="3132708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 smtClean="0"/>
              <a:t>4</a:t>
            </a:r>
            <a:endParaRPr lang="en-US" altLang="zh-CN" dirty="0"/>
          </a:p>
        </p:txBody>
      </p:sp>
      <p:sp>
        <p:nvSpPr>
          <p:cNvPr id="9" name="文本框 19"/>
          <p:cNvSpPr txBox="1"/>
          <p:nvPr/>
        </p:nvSpPr>
        <p:spPr>
          <a:xfrm>
            <a:off x="8468042" y="6093296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/>
              <a:t>5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04" y="1484784"/>
            <a:ext cx="3236700" cy="1440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26" y="3501752"/>
            <a:ext cx="8025116" cy="2759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947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10392" y="104810"/>
            <a:ext cx="2698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跨部门盘点</a:t>
            </a:r>
            <a:endParaRPr lang="zh-CN" altLang="en-US" sz="28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3"/>
          <p:cNvSpPr txBox="1"/>
          <p:nvPr/>
        </p:nvSpPr>
        <p:spPr>
          <a:xfrm>
            <a:off x="362865" y="620688"/>
            <a:ext cx="60901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初盘、抽盘创建后，会自动产生“验证码”，如下列表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52736"/>
            <a:ext cx="3722225" cy="249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39" y="1052737"/>
            <a:ext cx="3536003" cy="2498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Box 3"/>
          <p:cNvSpPr txBox="1"/>
          <p:nvPr/>
        </p:nvSpPr>
        <p:spPr>
          <a:xfrm>
            <a:off x="362865" y="3645024"/>
            <a:ext cx="839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打开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钉钉手机端，输入对应部门的“验证码”搜索，即可对其他部门资产盘点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28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857" y="4153121"/>
            <a:ext cx="2246363" cy="2220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9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867" y="4118047"/>
            <a:ext cx="2171700" cy="197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84805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97272" y="1916832"/>
            <a:ext cx="6063904" cy="1192198"/>
            <a:chOff x="597272" y="1916832"/>
            <a:chExt cx="6063904" cy="1192198"/>
          </a:xfrm>
        </p:grpSpPr>
        <p:sp>
          <p:nvSpPr>
            <p:cNvPr id="3" name="TextBox 2"/>
            <p:cNvSpPr txBox="1"/>
            <p:nvPr/>
          </p:nvSpPr>
          <p:spPr>
            <a:xfrm>
              <a:off x="597272" y="1916832"/>
              <a:ext cx="6063904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4400" dirty="0" smtClean="0">
                  <a:solidFill>
                    <a:srgbClr val="F083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hanks for your time!</a:t>
              </a:r>
              <a:endParaRPr lang="zh-CN" altLang="en-US" sz="4400" dirty="0">
                <a:solidFill>
                  <a:srgbClr val="F083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640884" y="2708920"/>
              <a:ext cx="146706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谢谢聆听！</a:t>
              </a:r>
              <a:endPara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" name="think-cell Slide" r:id="rId5" imgW="12700" imgH="12700" progId="TCLayout.ActiveDocument.1">
                  <p:embed/>
                </p:oleObj>
              </mc:Choice>
              <mc:Fallback>
                <p:oleObj name="think-cell Slide" r:id="rId5" imgW="12700" imgH="12700" progId="TCLayout.ActiveDocument.1">
                  <p:embed/>
                  <p:pic>
                    <p:nvPicPr>
                      <p:cNvPr id="0" name="图片 451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fld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19576" y="299204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平行四边形 41"/>
          <p:cNvSpPr/>
          <p:nvPr/>
        </p:nvSpPr>
        <p:spPr>
          <a:xfrm>
            <a:off x="2782613" y="1412777"/>
            <a:ext cx="4026472" cy="494046"/>
          </a:xfrm>
          <a:prstGeom prst="parallelogram">
            <a:avLst>
              <a:gd name="adj" fmla="val 0"/>
            </a:avLst>
          </a:prstGeom>
          <a:solidFill>
            <a:srgbClr val="EF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6" name="组合 45"/>
          <p:cNvGrpSpPr>
            <a:grpSpLocks noChangeAspect="1"/>
          </p:cNvGrpSpPr>
          <p:nvPr/>
        </p:nvGrpSpPr>
        <p:grpSpPr>
          <a:xfrm>
            <a:off x="2267744" y="1412776"/>
            <a:ext cx="821884" cy="494048"/>
            <a:chOff x="2622947" y="2040496"/>
            <a:chExt cx="872388" cy="524407"/>
          </a:xfrm>
        </p:grpSpPr>
        <p:grpSp>
          <p:nvGrpSpPr>
            <p:cNvPr id="47" name="组合 46"/>
            <p:cNvGrpSpPr/>
            <p:nvPr/>
          </p:nvGrpSpPr>
          <p:grpSpPr>
            <a:xfrm>
              <a:off x="2656287" y="2040496"/>
              <a:ext cx="839048" cy="524405"/>
              <a:chOff x="3419872" y="2265524"/>
              <a:chExt cx="576064" cy="360040"/>
            </a:xfrm>
            <a:solidFill>
              <a:schemeClr val="bg1"/>
            </a:solidFill>
          </p:grpSpPr>
          <p:sp>
            <p:nvSpPr>
              <p:cNvPr id="51" name="平行四边形 50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2" name="平行四边形 51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8" name="组合 47"/>
            <p:cNvGrpSpPr/>
            <p:nvPr/>
          </p:nvGrpSpPr>
          <p:grpSpPr>
            <a:xfrm>
              <a:off x="2622947" y="2040498"/>
              <a:ext cx="839048" cy="524405"/>
              <a:chOff x="3419872" y="2265524"/>
              <a:chExt cx="576064" cy="360040"/>
            </a:xfrm>
          </p:grpSpPr>
          <p:sp>
            <p:nvSpPr>
              <p:cNvPr id="49" name="平行四边形 48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0" name="平行四边形 49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</p:grpSp>
      <p:sp>
        <p:nvSpPr>
          <p:cNvPr id="53" name="TextBox 52"/>
          <p:cNvSpPr txBox="1"/>
          <p:nvPr/>
        </p:nvSpPr>
        <p:spPr>
          <a:xfrm>
            <a:off x="2339105" y="1464491"/>
            <a:ext cx="4860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429352" y="1461379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钉钉盘点操作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平行四边形 24"/>
          <p:cNvSpPr/>
          <p:nvPr/>
        </p:nvSpPr>
        <p:spPr>
          <a:xfrm>
            <a:off x="2782613" y="2842928"/>
            <a:ext cx="4026472" cy="494046"/>
          </a:xfrm>
          <a:prstGeom prst="parallelogram">
            <a:avLst>
              <a:gd name="adj" fmla="val 0"/>
            </a:avLst>
          </a:prstGeom>
          <a:solidFill>
            <a:srgbClr val="EF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6" name="组合 25"/>
          <p:cNvGrpSpPr>
            <a:grpSpLocks noChangeAspect="1"/>
          </p:cNvGrpSpPr>
          <p:nvPr/>
        </p:nvGrpSpPr>
        <p:grpSpPr>
          <a:xfrm>
            <a:off x="2267744" y="2842927"/>
            <a:ext cx="821884" cy="494048"/>
            <a:chOff x="2622947" y="2040496"/>
            <a:chExt cx="872388" cy="524407"/>
          </a:xfrm>
        </p:grpSpPr>
        <p:grpSp>
          <p:nvGrpSpPr>
            <p:cNvPr id="27" name="组合 26"/>
            <p:cNvGrpSpPr/>
            <p:nvPr/>
          </p:nvGrpSpPr>
          <p:grpSpPr>
            <a:xfrm>
              <a:off x="2656287" y="2040496"/>
              <a:ext cx="839048" cy="524405"/>
              <a:chOff x="3419872" y="2265524"/>
              <a:chExt cx="576064" cy="360040"/>
            </a:xfrm>
            <a:solidFill>
              <a:schemeClr val="bg1"/>
            </a:solidFill>
          </p:grpSpPr>
          <p:sp>
            <p:nvSpPr>
              <p:cNvPr id="31" name="平行四边形 30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" name="平行四边形 31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8" name="组合 27"/>
            <p:cNvGrpSpPr/>
            <p:nvPr/>
          </p:nvGrpSpPr>
          <p:grpSpPr>
            <a:xfrm>
              <a:off x="2622947" y="2040498"/>
              <a:ext cx="839048" cy="524405"/>
              <a:chOff x="3419872" y="2265524"/>
              <a:chExt cx="576064" cy="360040"/>
            </a:xfrm>
          </p:grpSpPr>
          <p:sp>
            <p:nvSpPr>
              <p:cNvPr id="29" name="平行四边形 28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" name="平行四边形 29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</p:grpSp>
      <p:sp>
        <p:nvSpPr>
          <p:cNvPr id="33" name="TextBox 32"/>
          <p:cNvSpPr txBox="1"/>
          <p:nvPr/>
        </p:nvSpPr>
        <p:spPr>
          <a:xfrm>
            <a:off x="2339105" y="2894642"/>
            <a:ext cx="4860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429352" y="2891530"/>
            <a:ext cx="30828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操作 </a:t>
            </a: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初盘计划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平行四边形 34"/>
          <p:cNvSpPr/>
          <p:nvPr/>
        </p:nvSpPr>
        <p:spPr>
          <a:xfrm>
            <a:off x="2782613" y="2132857"/>
            <a:ext cx="4026472" cy="494046"/>
          </a:xfrm>
          <a:prstGeom prst="parallelogram">
            <a:avLst>
              <a:gd name="adj" fmla="val 0"/>
            </a:avLst>
          </a:prstGeom>
          <a:solidFill>
            <a:srgbClr val="EF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6" name="组合 35"/>
          <p:cNvGrpSpPr>
            <a:grpSpLocks noChangeAspect="1"/>
          </p:cNvGrpSpPr>
          <p:nvPr/>
        </p:nvGrpSpPr>
        <p:grpSpPr>
          <a:xfrm>
            <a:off x="2267744" y="2132856"/>
            <a:ext cx="821884" cy="494048"/>
            <a:chOff x="2622947" y="2040496"/>
            <a:chExt cx="872388" cy="524407"/>
          </a:xfrm>
        </p:grpSpPr>
        <p:grpSp>
          <p:nvGrpSpPr>
            <p:cNvPr id="37" name="组合 36"/>
            <p:cNvGrpSpPr/>
            <p:nvPr/>
          </p:nvGrpSpPr>
          <p:grpSpPr>
            <a:xfrm>
              <a:off x="2656287" y="2040496"/>
              <a:ext cx="839048" cy="524405"/>
              <a:chOff x="3419872" y="2265524"/>
              <a:chExt cx="576064" cy="360040"/>
            </a:xfrm>
            <a:solidFill>
              <a:schemeClr val="bg1"/>
            </a:solidFill>
          </p:grpSpPr>
          <p:sp>
            <p:nvSpPr>
              <p:cNvPr id="41" name="平行四边形 40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3" name="平行四边形 42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8" name="组合 37"/>
            <p:cNvGrpSpPr/>
            <p:nvPr/>
          </p:nvGrpSpPr>
          <p:grpSpPr>
            <a:xfrm>
              <a:off x="2622947" y="2040498"/>
              <a:ext cx="839048" cy="524405"/>
              <a:chOff x="3419872" y="2265524"/>
              <a:chExt cx="576064" cy="360040"/>
            </a:xfrm>
          </p:grpSpPr>
          <p:sp>
            <p:nvSpPr>
              <p:cNvPr id="39" name="平行四边形 38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0" name="平行四边形 39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</p:grpSp>
      <p:sp>
        <p:nvSpPr>
          <p:cNvPr id="44" name="TextBox 43"/>
          <p:cNvSpPr txBox="1"/>
          <p:nvPr/>
        </p:nvSpPr>
        <p:spPr>
          <a:xfrm>
            <a:off x="2339105" y="2184571"/>
            <a:ext cx="4860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429352" y="2181459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异地盘点操作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平行四边形 54"/>
          <p:cNvSpPr/>
          <p:nvPr/>
        </p:nvSpPr>
        <p:spPr>
          <a:xfrm>
            <a:off x="2784343" y="3501008"/>
            <a:ext cx="4026472" cy="494046"/>
          </a:xfrm>
          <a:prstGeom prst="parallelogram">
            <a:avLst>
              <a:gd name="adj" fmla="val 0"/>
            </a:avLst>
          </a:prstGeom>
          <a:solidFill>
            <a:srgbClr val="EF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6" name="组合 55"/>
          <p:cNvGrpSpPr>
            <a:grpSpLocks noChangeAspect="1"/>
          </p:cNvGrpSpPr>
          <p:nvPr/>
        </p:nvGrpSpPr>
        <p:grpSpPr>
          <a:xfrm>
            <a:off x="2269474" y="3501007"/>
            <a:ext cx="821884" cy="494048"/>
            <a:chOff x="2622947" y="2040496"/>
            <a:chExt cx="872388" cy="524407"/>
          </a:xfrm>
        </p:grpSpPr>
        <p:grpSp>
          <p:nvGrpSpPr>
            <p:cNvPr id="57" name="组合 56"/>
            <p:cNvGrpSpPr/>
            <p:nvPr/>
          </p:nvGrpSpPr>
          <p:grpSpPr>
            <a:xfrm>
              <a:off x="2656287" y="2040496"/>
              <a:ext cx="839048" cy="524405"/>
              <a:chOff x="3419872" y="2265524"/>
              <a:chExt cx="576064" cy="360040"/>
            </a:xfrm>
            <a:solidFill>
              <a:schemeClr val="bg1"/>
            </a:solidFill>
          </p:grpSpPr>
          <p:sp>
            <p:nvSpPr>
              <p:cNvPr id="61" name="平行四边形 60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2" name="平行四边形 61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58" name="组合 57"/>
            <p:cNvGrpSpPr/>
            <p:nvPr/>
          </p:nvGrpSpPr>
          <p:grpSpPr>
            <a:xfrm>
              <a:off x="2622947" y="2040498"/>
              <a:ext cx="839048" cy="524405"/>
              <a:chOff x="3419872" y="2265524"/>
              <a:chExt cx="576064" cy="360040"/>
            </a:xfrm>
          </p:grpSpPr>
          <p:sp>
            <p:nvSpPr>
              <p:cNvPr id="59" name="平行四边形 58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0" name="平行四边形 59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</p:grpSp>
      <p:sp>
        <p:nvSpPr>
          <p:cNvPr id="63" name="TextBox 62"/>
          <p:cNvSpPr txBox="1"/>
          <p:nvPr/>
        </p:nvSpPr>
        <p:spPr>
          <a:xfrm>
            <a:off x="2340835" y="3552722"/>
            <a:ext cx="4860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4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431082" y="3549610"/>
            <a:ext cx="30828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操作 </a:t>
            </a: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抽盘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划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平行四边形 64"/>
          <p:cNvSpPr/>
          <p:nvPr/>
        </p:nvSpPr>
        <p:spPr>
          <a:xfrm>
            <a:off x="2793200" y="4149080"/>
            <a:ext cx="4026472" cy="494046"/>
          </a:xfrm>
          <a:prstGeom prst="parallelogram">
            <a:avLst>
              <a:gd name="adj" fmla="val 0"/>
            </a:avLst>
          </a:prstGeom>
          <a:solidFill>
            <a:srgbClr val="EF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6" name="组合 65"/>
          <p:cNvGrpSpPr>
            <a:grpSpLocks noChangeAspect="1"/>
          </p:cNvGrpSpPr>
          <p:nvPr/>
        </p:nvGrpSpPr>
        <p:grpSpPr>
          <a:xfrm>
            <a:off x="2278331" y="4149079"/>
            <a:ext cx="821884" cy="494048"/>
            <a:chOff x="2622947" y="2040496"/>
            <a:chExt cx="872388" cy="524407"/>
          </a:xfrm>
        </p:grpSpPr>
        <p:grpSp>
          <p:nvGrpSpPr>
            <p:cNvPr id="67" name="组合 66"/>
            <p:cNvGrpSpPr/>
            <p:nvPr/>
          </p:nvGrpSpPr>
          <p:grpSpPr>
            <a:xfrm>
              <a:off x="2656287" y="2040496"/>
              <a:ext cx="839048" cy="524405"/>
              <a:chOff x="3419872" y="2265524"/>
              <a:chExt cx="576064" cy="360040"/>
            </a:xfrm>
            <a:solidFill>
              <a:schemeClr val="bg1"/>
            </a:solidFill>
          </p:grpSpPr>
          <p:sp>
            <p:nvSpPr>
              <p:cNvPr id="71" name="平行四边形 70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2" name="平行四边形 71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8" name="组合 67"/>
            <p:cNvGrpSpPr/>
            <p:nvPr/>
          </p:nvGrpSpPr>
          <p:grpSpPr>
            <a:xfrm>
              <a:off x="2622947" y="2040498"/>
              <a:ext cx="839048" cy="524405"/>
              <a:chOff x="3419872" y="2265524"/>
              <a:chExt cx="576064" cy="360040"/>
            </a:xfrm>
          </p:grpSpPr>
          <p:sp>
            <p:nvSpPr>
              <p:cNvPr id="69" name="平行四边形 68"/>
              <p:cNvSpPr/>
              <p:nvPr/>
            </p:nvSpPr>
            <p:spPr>
              <a:xfrm>
                <a:off x="3419872" y="2265524"/>
                <a:ext cx="576064" cy="360040"/>
              </a:xfrm>
              <a:prstGeom prst="parallelogram">
                <a:avLst>
                  <a:gd name="adj" fmla="val 57148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平行四边形 69"/>
              <p:cNvSpPr/>
              <p:nvPr/>
            </p:nvSpPr>
            <p:spPr>
              <a:xfrm>
                <a:off x="3419872" y="2265524"/>
                <a:ext cx="360040" cy="360040"/>
              </a:xfrm>
              <a:prstGeom prst="parallelogram">
                <a:avLst>
                  <a:gd name="adj" fmla="val 0"/>
                </a:avLst>
              </a:prstGeom>
              <a:solidFill>
                <a:srgbClr val="F08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</p:grpSp>
      <p:sp>
        <p:nvSpPr>
          <p:cNvPr id="73" name="TextBox 72"/>
          <p:cNvSpPr txBox="1"/>
          <p:nvPr/>
        </p:nvSpPr>
        <p:spPr>
          <a:xfrm>
            <a:off x="2349692" y="4200794"/>
            <a:ext cx="4860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5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439939" y="4197682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部门盘点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3528" y="610761"/>
            <a:ext cx="58400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登录钉钉，选择工作菜单进入工作页面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选择资产管理应用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如果没有菜单权限如图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示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600" y="1689100"/>
            <a:ext cx="2091055" cy="348043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848535" y="4892040"/>
            <a:ext cx="337820" cy="277495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7834" y="1689100"/>
            <a:ext cx="2106562" cy="3480435"/>
          </a:xfrm>
          <a:prstGeom prst="rect">
            <a:avLst/>
          </a:prstGeom>
        </p:spPr>
      </p:pic>
      <p:sp>
        <p:nvSpPr>
          <p:cNvPr id="19" name="矩形 18"/>
          <p:cNvSpPr/>
          <p:nvPr/>
        </p:nvSpPr>
        <p:spPr>
          <a:xfrm>
            <a:off x="5244544" y="3896995"/>
            <a:ext cx="429895" cy="417195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TextBox 6"/>
          <p:cNvSpPr txBox="1"/>
          <p:nvPr/>
        </p:nvSpPr>
        <p:spPr>
          <a:xfrm>
            <a:off x="110392" y="104810"/>
            <a:ext cx="30572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钉钉盘点操作</a:t>
            </a:r>
            <a:endParaRPr lang="zh-CN" altLang="en-US" sz="28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184" y="1642110"/>
            <a:ext cx="1982911" cy="3527425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6463769" y="3009900"/>
            <a:ext cx="1456055" cy="661670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1490395" y="5351145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图</a:t>
            </a:r>
            <a:r>
              <a:rPr lang="en-US" altLang="zh-CN"/>
              <a:t>1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4295219" y="5351145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图</a:t>
            </a:r>
            <a:r>
              <a:rPr lang="en-US" altLang="zh-CN"/>
              <a:t>2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973674" y="5351145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图</a:t>
            </a:r>
            <a:r>
              <a:rPr lang="en-US" altLang="zh-CN"/>
              <a:t>3</a:t>
            </a:r>
          </a:p>
        </p:txBody>
      </p:sp>
      <p:sp>
        <p:nvSpPr>
          <p:cNvPr id="13" name="圆角矩形标注 12"/>
          <p:cNvSpPr/>
          <p:nvPr/>
        </p:nvSpPr>
        <p:spPr bwMode="auto">
          <a:xfrm>
            <a:off x="4733369" y="3393440"/>
            <a:ext cx="1139825" cy="381000"/>
          </a:xfrm>
          <a:prstGeom prst="wedgeRoundRectCallout">
            <a:avLst>
              <a:gd name="adj1" fmla="val 6657"/>
              <a:gd name="adj2" fmla="val 82166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2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选择资产管理</a:t>
            </a:r>
          </a:p>
        </p:txBody>
      </p:sp>
      <p:sp>
        <p:nvSpPr>
          <p:cNvPr id="15" name="圆角矩形标注 14"/>
          <p:cNvSpPr/>
          <p:nvPr/>
        </p:nvSpPr>
        <p:spPr bwMode="auto">
          <a:xfrm>
            <a:off x="6228184" y="2426335"/>
            <a:ext cx="1487805" cy="347980"/>
          </a:xfrm>
          <a:prstGeom prst="wedgeRoundRectCallout">
            <a:avLst>
              <a:gd name="adj1" fmla="val -12562"/>
              <a:gd name="adj2" fmla="val 108166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rgbClr val="FF0000"/>
                </a:solidFill>
              </a:rPr>
              <a:t>没有菜单权限提示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rgbClr val="FF0000"/>
                </a:solidFill>
              </a:rPr>
              <a:t>如下</a:t>
            </a:r>
          </a:p>
        </p:txBody>
      </p:sp>
      <p:sp>
        <p:nvSpPr>
          <p:cNvPr id="7" name="圆角矩形标注 6"/>
          <p:cNvSpPr/>
          <p:nvPr/>
        </p:nvSpPr>
        <p:spPr bwMode="auto">
          <a:xfrm>
            <a:off x="1320850" y="4369435"/>
            <a:ext cx="1487805" cy="347980"/>
          </a:xfrm>
          <a:prstGeom prst="wedgeRoundRectCallout">
            <a:avLst>
              <a:gd name="adj1" fmla="val -12562"/>
              <a:gd name="adj2" fmla="val 108166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1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选择工作菜单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6292" y="1838289"/>
            <a:ext cx="2046880" cy="3519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5795" y="1838289"/>
            <a:ext cx="1967819" cy="35198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TextBox 3"/>
          <p:cNvSpPr txBox="1"/>
          <p:nvPr/>
        </p:nvSpPr>
        <p:spPr>
          <a:xfrm>
            <a:off x="323528" y="610761"/>
            <a:ext cx="499527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入资产管理应用选择初盘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抽盘管理，如图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对应的盘点计划任务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.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扫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码采集数据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入扫描界面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0487" y="1838290"/>
            <a:ext cx="1938655" cy="351980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 flipV="1">
            <a:off x="1162612" y="2830160"/>
            <a:ext cx="514985" cy="626110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/>
          <p:cNvSpPr/>
          <p:nvPr/>
        </p:nvSpPr>
        <p:spPr>
          <a:xfrm>
            <a:off x="3522125" y="2981608"/>
            <a:ext cx="1728192" cy="400244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/>
          <p:cNvSpPr/>
          <p:nvPr/>
        </p:nvSpPr>
        <p:spPr>
          <a:xfrm flipV="1">
            <a:off x="5970397" y="2459216"/>
            <a:ext cx="981839" cy="400050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1751212" y="5589240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图</a:t>
            </a:r>
            <a:r>
              <a:rPr lang="en-US" altLang="zh-CN" dirty="0"/>
              <a:t>4</a:t>
            </a:r>
          </a:p>
        </p:txBody>
      </p:sp>
      <p:sp>
        <p:nvSpPr>
          <p:cNvPr id="36" name="文本框 35"/>
          <p:cNvSpPr txBox="1"/>
          <p:nvPr/>
        </p:nvSpPr>
        <p:spPr>
          <a:xfrm>
            <a:off x="4143001" y="5580980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/>
              <a:t>图</a:t>
            </a:r>
            <a:r>
              <a:rPr lang="en-US" altLang="zh-CN"/>
              <a:t>5</a:t>
            </a:r>
          </a:p>
        </p:txBody>
      </p:sp>
      <p:sp>
        <p:nvSpPr>
          <p:cNvPr id="37" name="文本框 36"/>
          <p:cNvSpPr txBox="1"/>
          <p:nvPr/>
        </p:nvSpPr>
        <p:spPr>
          <a:xfrm>
            <a:off x="6732240" y="5580980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图</a:t>
            </a:r>
            <a:r>
              <a:rPr lang="en-US" altLang="zh-CN" dirty="0"/>
              <a:t>6</a:t>
            </a:r>
          </a:p>
        </p:txBody>
      </p:sp>
      <p:sp>
        <p:nvSpPr>
          <p:cNvPr id="7" name="圆角矩形标注 6"/>
          <p:cNvSpPr/>
          <p:nvPr/>
        </p:nvSpPr>
        <p:spPr bwMode="auto">
          <a:xfrm>
            <a:off x="1386585" y="3801735"/>
            <a:ext cx="1244238" cy="347980"/>
          </a:xfrm>
          <a:prstGeom prst="wedgeRoundRectCallout">
            <a:avLst>
              <a:gd name="adj1" fmla="val -19452"/>
              <a:gd name="adj2" fmla="val -121761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3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选择初盘管理</a:t>
            </a:r>
            <a:endParaRPr lang="en-US" altLang="zh-CN" sz="1200" b="1" dirty="0" smtClean="0">
              <a:solidFill>
                <a:srgbClr val="FF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rgbClr val="FF0000"/>
                </a:solidFill>
              </a:rPr>
              <a:t>或者抽盘管理</a:t>
            </a:r>
          </a:p>
        </p:txBody>
      </p:sp>
      <p:sp>
        <p:nvSpPr>
          <p:cNvPr id="3" name="圆角矩形标注 2"/>
          <p:cNvSpPr/>
          <p:nvPr/>
        </p:nvSpPr>
        <p:spPr bwMode="auto">
          <a:xfrm>
            <a:off x="3995045" y="3735670"/>
            <a:ext cx="1255271" cy="347980"/>
          </a:xfrm>
          <a:prstGeom prst="wedgeRoundRectCallout">
            <a:avLst>
              <a:gd name="adj1" fmla="val 9324"/>
              <a:gd name="adj2" fmla="val -127235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4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点击计划</a:t>
            </a:r>
          </a:p>
        </p:txBody>
      </p:sp>
      <p:sp>
        <p:nvSpPr>
          <p:cNvPr id="4" name="圆角矩形标注 3"/>
          <p:cNvSpPr/>
          <p:nvPr/>
        </p:nvSpPr>
        <p:spPr bwMode="auto">
          <a:xfrm>
            <a:off x="6554772" y="3138031"/>
            <a:ext cx="1232016" cy="347980"/>
          </a:xfrm>
          <a:prstGeom prst="wedgeRoundRectCallout">
            <a:avLst>
              <a:gd name="adj1" fmla="val -30535"/>
              <a:gd name="adj2" fmla="val -110812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5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点击进入</a:t>
            </a:r>
            <a:endParaRPr lang="en-US" altLang="zh-CN" sz="1200" b="1" dirty="0" smtClean="0">
              <a:solidFill>
                <a:srgbClr val="FF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rgbClr val="FF0000"/>
                </a:solidFill>
              </a:rPr>
              <a:t>扫描界面</a:t>
            </a:r>
          </a:p>
        </p:txBody>
      </p:sp>
      <p:sp>
        <p:nvSpPr>
          <p:cNvPr id="23" name="矩形 22"/>
          <p:cNvSpPr/>
          <p:nvPr/>
        </p:nvSpPr>
        <p:spPr>
          <a:xfrm flipV="1">
            <a:off x="1751212" y="2830160"/>
            <a:ext cx="514985" cy="626110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0228" y="2012632"/>
            <a:ext cx="1883921" cy="333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167" y="2012631"/>
            <a:ext cx="1901222" cy="3338513"/>
          </a:xfrm>
          <a:prstGeom prst="rect">
            <a:avLst/>
          </a:prstGeom>
        </p:spPr>
      </p:pic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TextBox 3"/>
          <p:cNvSpPr txBox="1"/>
          <p:nvPr/>
        </p:nvSpPr>
        <p:spPr>
          <a:xfrm>
            <a:off x="323528" y="610761"/>
            <a:ext cx="694453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6.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把打印的标签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贴至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实物，对准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码进行扫描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图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如果资产存在，则提示“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传成功”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允许盘盈）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如下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endPara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如果资产已采集，则提示“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XX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被采集过”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3283466" y="5436964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 smtClean="0"/>
              <a:t>9</a:t>
            </a:r>
            <a:endParaRPr lang="en-US" altLang="zh-CN" dirty="0"/>
          </a:p>
        </p:txBody>
      </p:sp>
      <p:sp>
        <p:nvSpPr>
          <p:cNvPr id="36" name="文本框 35"/>
          <p:cNvSpPr txBox="1"/>
          <p:nvPr/>
        </p:nvSpPr>
        <p:spPr>
          <a:xfrm>
            <a:off x="5364088" y="5436964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 smtClean="0"/>
              <a:t>10</a:t>
            </a:r>
            <a:endParaRPr lang="en-US" altLang="zh-CN" dirty="0"/>
          </a:p>
        </p:txBody>
      </p:sp>
      <p:sp>
        <p:nvSpPr>
          <p:cNvPr id="37" name="文本框 36"/>
          <p:cNvSpPr txBox="1"/>
          <p:nvPr/>
        </p:nvSpPr>
        <p:spPr>
          <a:xfrm>
            <a:off x="7452320" y="5436964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图</a:t>
            </a:r>
            <a:r>
              <a:rPr lang="en-US" altLang="zh-CN" dirty="0" smtClean="0"/>
              <a:t>11</a:t>
            </a:r>
            <a:endParaRPr lang="en-US" altLang="zh-CN" dirty="0"/>
          </a:p>
        </p:txBody>
      </p:sp>
      <p:sp>
        <p:nvSpPr>
          <p:cNvPr id="18" name="文本框 34"/>
          <p:cNvSpPr txBox="1"/>
          <p:nvPr/>
        </p:nvSpPr>
        <p:spPr>
          <a:xfrm>
            <a:off x="979210" y="5436964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图</a:t>
            </a:r>
            <a:r>
              <a:rPr lang="en-US" altLang="zh-CN" dirty="0"/>
              <a:t>8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5641" y="2012632"/>
            <a:ext cx="1942823" cy="3357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2014654"/>
            <a:ext cx="1900753" cy="3353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685" y="1772816"/>
            <a:ext cx="2095153" cy="362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TextBox 3"/>
          <p:cNvSpPr txBox="1"/>
          <p:nvPr/>
        </p:nvSpPr>
        <p:spPr>
          <a:xfrm>
            <a:off x="323528" y="899428"/>
            <a:ext cx="4934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.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盘点完成，则点击“结束盘点”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1195234" y="5579006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图</a:t>
            </a:r>
            <a:r>
              <a:rPr lang="en-US" altLang="zh-CN" dirty="0" smtClean="0"/>
              <a:t>12</a:t>
            </a:r>
            <a:endParaRPr lang="en-US" altLang="zh-CN" dirty="0"/>
          </a:p>
        </p:txBody>
      </p:sp>
      <p:sp>
        <p:nvSpPr>
          <p:cNvPr id="10" name="矩形 9"/>
          <p:cNvSpPr/>
          <p:nvPr/>
        </p:nvSpPr>
        <p:spPr>
          <a:xfrm flipV="1">
            <a:off x="1511781" y="2433737"/>
            <a:ext cx="971987" cy="432048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圆角矩形标注 2"/>
          <p:cNvSpPr/>
          <p:nvPr/>
        </p:nvSpPr>
        <p:spPr bwMode="auto">
          <a:xfrm>
            <a:off x="1331640" y="1884368"/>
            <a:ext cx="2088232" cy="347980"/>
          </a:xfrm>
          <a:prstGeom prst="wedgeRoundRectCallout">
            <a:avLst>
              <a:gd name="adj1" fmla="val -12562"/>
              <a:gd name="adj2" fmla="val 108166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10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盘点完成，点击结束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938" y="2094296"/>
            <a:ext cx="2007258" cy="3566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10392" y="104810"/>
            <a:ext cx="30572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、异地盘点操作</a:t>
            </a:r>
            <a:endParaRPr lang="zh-CN" altLang="en-US" sz="28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3"/>
          <p:cNvSpPr txBox="1"/>
          <p:nvPr/>
        </p:nvSpPr>
        <p:spPr>
          <a:xfrm>
            <a:off x="323528" y="899428"/>
            <a:ext cx="86292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入盘点管理页面，把“计划名称”前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位数字验证码发送给异地部门的同事，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然后通过输入验证码进行搜索（需要有钉钉账号，并且有盘点的菜单权限）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搜索结果中相应的盘点计划，则可以进行异地盘点工作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34"/>
          <p:cNvSpPr txBox="1"/>
          <p:nvPr/>
        </p:nvSpPr>
        <p:spPr>
          <a:xfrm>
            <a:off x="1475656" y="5941020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图</a:t>
            </a:r>
            <a:r>
              <a:rPr lang="en-US" altLang="zh-CN" dirty="0" smtClean="0"/>
              <a:t>1</a:t>
            </a:r>
            <a:endParaRPr lang="en-US" altLang="zh-CN" dirty="0"/>
          </a:p>
        </p:txBody>
      </p:sp>
      <p:sp>
        <p:nvSpPr>
          <p:cNvPr id="12" name="矩形 11"/>
          <p:cNvSpPr/>
          <p:nvPr/>
        </p:nvSpPr>
        <p:spPr>
          <a:xfrm flipV="1">
            <a:off x="899592" y="2609227"/>
            <a:ext cx="1151413" cy="275183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圆角矩形标注 12"/>
          <p:cNvSpPr/>
          <p:nvPr/>
        </p:nvSpPr>
        <p:spPr bwMode="auto">
          <a:xfrm>
            <a:off x="1907704" y="2020314"/>
            <a:ext cx="1215336" cy="347980"/>
          </a:xfrm>
          <a:prstGeom prst="wedgeRoundRectCallout">
            <a:avLst>
              <a:gd name="adj1" fmla="val -12562"/>
              <a:gd name="adj2" fmla="val 108166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1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输入验证码，</a:t>
            </a:r>
            <a:endParaRPr lang="en-US" altLang="zh-CN" sz="1200" b="1" dirty="0" smtClean="0">
              <a:solidFill>
                <a:srgbClr val="FF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rgbClr val="FF0000"/>
                </a:solidFill>
              </a:rPr>
              <a:t>点击“搜索”</a:t>
            </a:r>
          </a:p>
        </p:txBody>
      </p:sp>
      <p:sp>
        <p:nvSpPr>
          <p:cNvPr id="3" name="椭圆 2"/>
          <p:cNvSpPr/>
          <p:nvPr/>
        </p:nvSpPr>
        <p:spPr>
          <a:xfrm>
            <a:off x="1268593" y="2956418"/>
            <a:ext cx="504056" cy="216024"/>
          </a:xfrm>
          <a:prstGeom prst="ellipse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2100909"/>
            <a:ext cx="2070452" cy="3560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矩形 18"/>
          <p:cNvSpPr/>
          <p:nvPr/>
        </p:nvSpPr>
        <p:spPr>
          <a:xfrm flipV="1">
            <a:off x="3884017" y="2721835"/>
            <a:ext cx="1070756" cy="436279"/>
          </a:xfrm>
          <a:prstGeom prst="rect">
            <a:avLst/>
          </a:prstGeom>
          <a:solidFill>
            <a:schemeClr val="bg1">
              <a:alpha val="0"/>
            </a:scheme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圆角矩形标注 20"/>
          <p:cNvSpPr/>
          <p:nvPr/>
        </p:nvSpPr>
        <p:spPr bwMode="auto">
          <a:xfrm>
            <a:off x="4468391" y="3400651"/>
            <a:ext cx="1343589" cy="379494"/>
          </a:xfrm>
          <a:prstGeom prst="wedgeRoundRectCallout">
            <a:avLst>
              <a:gd name="adj1" fmla="val -30535"/>
              <a:gd name="adj2" fmla="val -110812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2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点击进入</a:t>
            </a:r>
            <a:endParaRPr lang="en-US" altLang="zh-CN" sz="1200" b="1" dirty="0" smtClean="0">
              <a:solidFill>
                <a:srgbClr val="FF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rgbClr val="FF0000"/>
                </a:solidFill>
              </a:rPr>
              <a:t>扫描界面</a:t>
            </a:r>
          </a:p>
        </p:txBody>
      </p:sp>
      <p:sp>
        <p:nvSpPr>
          <p:cNvPr id="22" name="文本框 34"/>
          <p:cNvSpPr txBox="1"/>
          <p:nvPr/>
        </p:nvSpPr>
        <p:spPr>
          <a:xfrm>
            <a:off x="4638170" y="5941020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 smtClean="0"/>
              <a:t>2</a:t>
            </a:r>
            <a:endParaRPr lang="en-US" altLang="zh-C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2" y="4632297"/>
            <a:ext cx="8698405" cy="1677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10392" y="104810"/>
            <a:ext cx="50000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操作 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初盘计划</a:t>
            </a:r>
            <a:endParaRPr lang="zh-CN" altLang="en-US" sz="28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圆角矩形标注 17"/>
          <p:cNvSpPr/>
          <p:nvPr/>
        </p:nvSpPr>
        <p:spPr bwMode="auto">
          <a:xfrm>
            <a:off x="7308304" y="4704305"/>
            <a:ext cx="1164590" cy="336550"/>
          </a:xfrm>
          <a:prstGeom prst="wedgeRoundRectCallout">
            <a:avLst>
              <a:gd name="adj1" fmla="val 4525"/>
              <a:gd name="adj2" fmla="val 116415"/>
              <a:gd name="adj3" fmla="val 16667"/>
            </a:avLst>
          </a:prstGeom>
          <a:solidFill>
            <a:srgbClr val="FFFFFF">
              <a:alpha val="0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rgbClr val="FF0000"/>
                </a:solidFill>
              </a:rPr>
              <a:t>1.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点击新增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4139952" y="4212828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 smtClean="0"/>
              <a:t>1</a:t>
            </a:r>
            <a:endParaRPr lang="en-US" altLang="zh-CN" dirty="0"/>
          </a:p>
        </p:txBody>
      </p:sp>
      <p:sp>
        <p:nvSpPr>
          <p:cNvPr id="10" name="TextBox 3"/>
          <p:cNvSpPr txBox="1"/>
          <p:nvPr/>
        </p:nvSpPr>
        <p:spPr>
          <a:xfrm>
            <a:off x="362865" y="620688"/>
            <a:ext cx="70519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登录后，点击菜单“初盘管理”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点击“新增”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" y="980728"/>
            <a:ext cx="8698405" cy="3246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文本框 19"/>
          <p:cNvSpPr txBox="1"/>
          <p:nvPr/>
        </p:nvSpPr>
        <p:spPr>
          <a:xfrm>
            <a:off x="4139952" y="6165304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 smtClean="0"/>
              <a:t>2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88055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420108" y="6550744"/>
            <a:ext cx="586408" cy="313010"/>
          </a:xfrm>
        </p:spPr>
        <p:txBody>
          <a:bodyPr/>
          <a:lstStyle/>
          <a:p>
            <a:fld id="{B9E8197E-6409-45BD-888B-C21AA86847A9}" type="slidenum">
              <a:rPr lang="zh-CN" altLang="en-US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fld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10392" y="104810"/>
            <a:ext cx="50000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操作 </a:t>
            </a:r>
            <a:r>
              <a:rPr lang="en-US" altLang="zh-CN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</a:t>
            </a:r>
            <a:r>
              <a:rPr lang="zh-CN" alt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初盘计划</a:t>
            </a:r>
          </a:p>
        </p:txBody>
      </p:sp>
      <p:sp>
        <p:nvSpPr>
          <p:cNvPr id="10" name="TextBox 3"/>
          <p:cNvSpPr txBox="1"/>
          <p:nvPr/>
        </p:nvSpPr>
        <p:spPr>
          <a:xfrm>
            <a:off x="362865" y="620688"/>
            <a:ext cx="5070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填写计划事项后，点击“确定”按钮，如图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</p:txBody>
      </p:sp>
      <p:sp>
        <p:nvSpPr>
          <p:cNvPr id="12" name="文本框 19"/>
          <p:cNvSpPr txBox="1"/>
          <p:nvPr/>
        </p:nvSpPr>
        <p:spPr>
          <a:xfrm>
            <a:off x="4139952" y="5733256"/>
            <a:ext cx="712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图</a:t>
            </a:r>
            <a:r>
              <a:rPr lang="en-US" altLang="zh-CN" dirty="0"/>
              <a:t>3</a:t>
            </a:r>
          </a:p>
        </p:txBody>
      </p:sp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916" y="1124744"/>
            <a:ext cx="7429500" cy="447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94932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风神物流（商业图表配色）">
      <a:dk1>
        <a:srgbClr val="000000"/>
      </a:dk1>
      <a:lt1>
        <a:srgbClr val="FFFFFF"/>
      </a:lt1>
      <a:dk2>
        <a:srgbClr val="003045"/>
      </a:dk2>
      <a:lt2>
        <a:srgbClr val="FF6600"/>
      </a:lt2>
      <a:accent1>
        <a:srgbClr val="003873"/>
      </a:accent1>
      <a:accent2>
        <a:srgbClr val="F70000"/>
      </a:accent2>
      <a:accent3>
        <a:srgbClr val="00AEF7"/>
      </a:accent3>
      <a:accent4>
        <a:srgbClr val="FF8618"/>
      </a:accent4>
      <a:accent5>
        <a:srgbClr val="CEDB29"/>
      </a:accent5>
      <a:accent6>
        <a:srgbClr val="00A652"/>
      </a:accent6>
      <a:hlink>
        <a:srgbClr val="0000FF"/>
      </a:hlink>
      <a:folHlink>
        <a:srgbClr val="990033"/>
      </a:folHlink>
    </a:clrScheme>
    <a:fontScheme name="全微软雅黑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8</TotalTime>
  <Words>660</Words>
  <Application>Microsoft Office PowerPoint</Application>
  <PresentationFormat>全屏显示(4:3)</PresentationFormat>
  <Paragraphs>100</Paragraphs>
  <Slides>15</Slides>
  <Notes>2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17" baseType="lpstr">
      <vt:lpstr>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Tony Chen</dc:creator>
  <cp:lastModifiedBy>Windows</cp:lastModifiedBy>
  <cp:revision>606</cp:revision>
  <cp:lastPrinted>2018-09-03T02:53:00Z</cp:lastPrinted>
  <dcterms:created xsi:type="dcterms:W3CDTF">2017-03-02T13:37:00Z</dcterms:created>
  <dcterms:modified xsi:type="dcterms:W3CDTF">2020-12-04T02:1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96</vt:lpwstr>
  </property>
</Properties>
</file>